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4.xml" ContentType="application/vnd.openxmlformats-officedocument.theme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tags/tag88.xml" ContentType="application/vnd.openxmlformats-officedocument.presentationml.tags+xml"/>
  <Override PartName="/ppt/notesSlides/notesSlide2.xml" ContentType="application/vnd.openxmlformats-officedocument.presentationml.notesSlide+xml"/>
  <Override PartName="/ppt/tags/tag89.xml" ContentType="application/vnd.openxmlformats-officedocument.presentationml.tags+xml"/>
  <Override PartName="/ppt/notesSlides/notesSlide3.xml" ContentType="application/vnd.openxmlformats-officedocument.presentationml.notesSlide+xml"/>
  <Override PartName="/ppt/tags/tag9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2"/>
    <p:sldMasterId id="2147483652" r:id="rId3"/>
  </p:sldMasterIdLst>
  <p:notesMasterIdLst>
    <p:notesMasterId r:id="rId8"/>
  </p:notesMasterIdLst>
  <p:sldIdLst>
    <p:sldId id="502" r:id="rId4"/>
    <p:sldId id="503" r:id="rId5"/>
    <p:sldId id="504" r:id="rId6"/>
    <p:sldId id="508" r:id="rId7"/>
  </p:sldIdLst>
  <p:sldSz cx="12192000" cy="6858000"/>
  <p:notesSz cx="6797675" cy="9926638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7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6522"/>
    <a:srgbClr val="FDBF0F"/>
    <a:srgbClr val="262652"/>
    <a:srgbClr val="FF8C1C"/>
    <a:srgbClr val="E5DFD0"/>
    <a:srgbClr val="E4E4E4"/>
    <a:srgbClr val="FFFFFF"/>
    <a:srgbClr val="D88B50"/>
    <a:srgbClr val="2E75B6"/>
    <a:srgbClr val="E2EB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91" autoAdjust="0"/>
    <p:restoredTop sz="94007" autoAdjust="0"/>
  </p:normalViewPr>
  <p:slideViewPr>
    <p:cSldViewPr snapToGrid="0">
      <p:cViewPr varScale="1">
        <p:scale>
          <a:sx n="114" d="100"/>
          <a:sy n="114" d="100"/>
        </p:scale>
        <p:origin x="948" y="102"/>
      </p:cViewPr>
      <p:guideLst>
        <p:guide orient="horz" pos="216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DFE57-FE2C-43E4-BEC5-E55C08EE9837}" type="datetimeFigureOut">
              <a:rPr lang="en-US" smtClean="0"/>
              <a:t>3/15/2023</a:t>
            </a:fld>
            <a:endParaRPr lang="en-US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C67FC-259A-4915-9605-490E4CE312B6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8C67FC-259A-4915-9605-490E4CE312B6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8C67FC-259A-4915-9605-490E4CE312B6}" type="slidenum">
              <a:rPr lang="en-US" smtClean="0"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8C67FC-259A-4915-9605-490E4CE312B6}" type="slidenum">
              <a:rPr lang="en-US" smtClean="0"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8C67FC-259A-4915-9605-490E4CE312B6}" type="slidenum">
              <a:rPr lang="en-US" smtClean="0"/>
              <a:t>4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7.xml"/><Relationship Id="rId7" Type="http://schemas.openxmlformats.org/officeDocument/2006/relationships/oleObject" Target="../embeddings/oleObject6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3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3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3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3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9525" imgH="9525" progId="TCLayout.ActiveDocument.1">
                  <p:embed/>
                </p:oleObj>
              </mc:Choice>
              <mc:Fallback>
                <p:oleObj name="Слайд think-cell" r:id="rId3" imgW="9525" imgH="9525" progId="TCLayout.ActiveDocument.1">
                  <p:embed/>
                  <p:pic>
                    <p:nvPicPr>
                      <p:cNvPr id="0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5386" y="2680199"/>
            <a:ext cx="2442215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923" y="3395663"/>
            <a:ext cx="1598246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86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63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>
            <a:fillRect/>
          </a:stretch>
        </p:blipFill>
        <p:spPr>
          <a:xfrm rot="16200000" flipH="1">
            <a:off x="7681407" y="1164600"/>
            <a:ext cx="580573" cy="84406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>
            <a:fillRect/>
          </a:stretch>
        </p:blipFill>
        <p:spPr>
          <a:xfrm>
            <a:off x="-17863" y="0"/>
            <a:ext cx="12218795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770806" y="1509486"/>
            <a:ext cx="7915159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 dirty="0" err="1">
              <a:solidFill>
                <a:srgbClr val="FFFFFF"/>
              </a:solidFill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8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707" y="1701958"/>
            <a:ext cx="902695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2547644" y="1701958"/>
            <a:ext cx="4006974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400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400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400" b="1" dirty="0">
              <a:solidFill>
                <a:srgbClr val="FFFFFF"/>
              </a:solidFill>
              <a:effectLst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5475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>
            <a:fillRect/>
          </a:stretch>
        </p:blipFill>
        <p:spPr>
          <a:xfrm rot="16200000" flipH="1">
            <a:off x="7004220" y="365853"/>
            <a:ext cx="769257" cy="9606303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8829" y="6405036"/>
            <a:ext cx="1271632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/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6" name="Column 4"/>
              <p:cNvSpPr/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7" name="Column 3"/>
              <p:cNvSpPr/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8" name="Column 2"/>
              <p:cNvSpPr/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0" name="Column 1"/>
              <p:cNvSpPr/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63" name="Live space"/>
            <p:cNvSpPr/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099033"/>
              <a:ext cx="7283401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1. </a:t>
              </a:r>
              <a:r>
                <a:rPr lang="en-IN" sz="1000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  2. </a:t>
              </a:r>
              <a:r>
                <a:rPr lang="en-IN" sz="1000" dirty="0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100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nelWhite"/>
          <p:cNvSpPr/>
          <p:nvPr userDrawn="1"/>
        </p:nvSpPr>
        <p:spPr>
          <a:xfrm>
            <a:off x="0" y="5279184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>
            <a:fillRect/>
          </a:stretch>
        </p:blipFill>
        <p:spPr>
          <a:xfrm rot="16200000" flipH="1">
            <a:off x="7681407" y="1164600"/>
            <a:ext cx="580573" cy="84406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" t="405" r="38" b="24949"/>
          <a:stretch>
            <a:fillRect/>
          </a:stretch>
        </p:blipFill>
        <p:spPr>
          <a:xfrm>
            <a:off x="-17863" y="0"/>
            <a:ext cx="12218795" cy="525462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 rot="10800000">
            <a:off x="770806" y="1509486"/>
            <a:ext cx="7915159" cy="4646514"/>
          </a:xfrm>
          <a:prstGeom prst="rect">
            <a:avLst/>
          </a:prstGeom>
          <a:gradFill>
            <a:gsLst>
              <a:gs pos="0">
                <a:srgbClr val="071117"/>
              </a:gs>
              <a:gs pos="100000">
                <a:srgbClr val="295E7E">
                  <a:alpha val="90000"/>
                </a:srgbClr>
              </a:gs>
            </a:gsLst>
            <a:lin ang="84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kern="0" dirty="0" err="1">
              <a:solidFill>
                <a:srgbClr val="FFFFFF"/>
              </a:solidFill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 hasCustomPrompt="1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" descr="Image result for министерство труда казахстана logo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707" y="1701958"/>
            <a:ext cx="902695" cy="75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 userDrawn="1"/>
        </p:nvSpPr>
        <p:spPr>
          <a:xfrm>
            <a:off x="2547644" y="1701958"/>
            <a:ext cx="4006974" cy="7553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sx="0" sy="0" rotWithShape="0">
              <a:scrgbClr r="0" g="0" b="0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ru-RU" sz="1400" b="1" dirty="0">
                <a:solidFill>
                  <a:srgbClr val="FFFFFF"/>
                </a:solidFill>
                <a:effectLst/>
              </a:rPr>
              <a:t>Министерство</a:t>
            </a:r>
            <a:r>
              <a:rPr lang="ru-RU" sz="1400" b="1" baseline="0" dirty="0">
                <a:solidFill>
                  <a:srgbClr val="FFFFFF"/>
                </a:solidFill>
                <a:effectLst/>
              </a:rPr>
              <a:t> труда и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Социальной защиты населения</a:t>
            </a:r>
          </a:p>
          <a:p>
            <a:pPr algn="l"/>
            <a:r>
              <a:rPr lang="ru-RU" sz="1400" b="1" baseline="0" dirty="0">
                <a:solidFill>
                  <a:srgbClr val="FFFFFF"/>
                </a:solidFill>
                <a:effectLst/>
              </a:rPr>
              <a:t>Республики Казахстан</a:t>
            </a:r>
            <a:endParaRPr lang="en-US" sz="1400" b="1" dirty="0">
              <a:solidFill>
                <a:srgbClr val="FFFFFF"/>
              </a:solidFill>
              <a:effectLst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1" y="-1309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1227050"/>
            <a:ext cx="3640123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089969" y="1457803"/>
            <a:ext cx="1128278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775385" y="3682800"/>
            <a:ext cx="1141809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3" name="PanelWhite"/>
          <p:cNvSpPr/>
          <p:nvPr userDrawn="1"/>
        </p:nvSpPr>
        <p:spPr bwMode="white">
          <a:xfrm>
            <a:off x="0" y="0"/>
            <a:ext cx="89682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1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771846"/>
            <a:ext cx="2441354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>
            <a:fillRect/>
          </a:stretch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923" y="3395663"/>
            <a:ext cx="1598246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>
            <a:fillRect/>
          </a:stretch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86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3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5633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>
            <a:fillRect/>
          </a:stretch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2800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089970" y="1457803"/>
            <a:ext cx="11288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>
            <a:fillRect/>
          </a:stretch>
        </p:blipFill>
        <p:spPr>
          <a:xfrm rot="16200000" flipH="1">
            <a:off x="7004220" y="365853"/>
            <a:ext cx="769257" cy="9606303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1"/>
            <a:ext cx="12191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711241"/>
            <a:ext cx="2738215" cy="14355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kumimoji="0" lang="en-US" sz="1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/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5" name="Column 4"/>
              <p:cNvSpPr/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6" name="Column 3"/>
              <p:cNvSpPr/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7" name="Column 2"/>
              <p:cNvSpPr/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8" name="Column 1"/>
              <p:cNvSpPr/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62" name="Live space"/>
            <p:cNvSpPr/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099033"/>
              <a:ext cx="7283401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</a:t>
              </a:r>
              <a:r>
                <a:rPr lang="en-IN" sz="10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2. </a:t>
              </a:r>
              <a:r>
                <a:rPr lang="en-IN" sz="1000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12700" imgH="12700" progId="TCLayout.ActiveDocument.1">
                  <p:embed/>
                </p:oleObj>
              </mc:Choice>
              <mc:Fallback>
                <p:oleObj name="Слайд think-cell" r:id="rId7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176156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3424806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775385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12700" imgH="12700" progId="TCLayout.ActiveDocument.1">
                  <p:embed/>
                </p:oleObj>
              </mc:Choice>
              <mc:Fallback>
                <p:oleObj name="Слайд think-cell" r:id="rId6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089970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1089971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775385" y="3680016"/>
            <a:ext cx="1141661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12700" imgH="12700" progId="TCLayout.ActiveDocument.1">
                  <p:embed/>
                </p:oleObj>
              </mc:Choice>
              <mc:Fallback>
                <p:oleObj name="Слайд think-cell" r:id="rId6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1019324" y="6404400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773723" y="1206001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773723" y="622800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Agend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12700" imgH="12700" progId="TCLayout.ActiveDocument.1">
                  <p:embed/>
                </p:oleObj>
              </mc:Choice>
              <mc:Fallback>
                <p:oleObj name="Слайд think-cell" r:id="rId7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176153" y="4552779"/>
            <a:ext cx="1072246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3424804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775382" y="914400"/>
            <a:ext cx="4266652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12700" imgH="12700" progId="TCLayout.ActiveDocument.1">
                  <p:embed/>
                </p:oleObj>
              </mc:Choice>
              <mc:Fallback>
                <p:oleObj name="Слайд think-cell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089967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089967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12700" imgH="12700" progId="TCLayout.ActiveDocument.1">
                  <p:embed/>
                </p:oleObj>
              </mc:Choice>
              <mc:Fallback>
                <p:oleObj name="Слайд think-cell" r:id="rId6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773723" y="1205999"/>
            <a:ext cx="1141827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773723" y="622799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2994224" y="-1309"/>
            <a:ext cx="9197777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12700" imgH="12700" progId="TCLayout.ActiveDocument.1">
                  <p:embed/>
                </p:oleObj>
              </mc:Choice>
              <mc:Fallback>
                <p:oleObj name="Слайд think-cell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618" y="3594368"/>
            <a:ext cx="168030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49" y="2711241"/>
            <a:ext cx="2738215" cy="14355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4118216" y="0"/>
            <a:ext cx="513969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413273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>
            <a:off x="3621856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1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11 Видение и основные направления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theme" Target="../theme/theme2.xml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22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63" Type="http://schemas.openxmlformats.org/officeDocument/2006/relationships/slideLayout" Target="../slideLayouts/slideLayout64.xml"/><Relationship Id="rId68" Type="http://schemas.openxmlformats.org/officeDocument/2006/relationships/oleObject" Target="../embeddings/oleObject4.bin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54.xml"/><Relationship Id="rId58" Type="http://schemas.openxmlformats.org/officeDocument/2006/relationships/slideLayout" Target="../slideLayouts/slideLayout59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6.xml"/><Relationship Id="rId61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57.xml"/><Relationship Id="rId64" Type="http://schemas.openxmlformats.org/officeDocument/2006/relationships/slideLayout" Target="../slideLayouts/slideLayout65.xml"/><Relationship Id="rId69" Type="http://schemas.openxmlformats.org/officeDocument/2006/relationships/image" Target="../media/image3.emf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slideLayout" Target="../slideLayouts/slideLayout60.xml"/><Relationship Id="rId67" Type="http://schemas.openxmlformats.org/officeDocument/2006/relationships/tags" Target="../tags/tag5.xml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Relationship Id="rId60" Type="http://schemas.openxmlformats.org/officeDocument/2006/relationships/slideLayout" Target="../slideLayouts/slideLayout61.xml"/><Relationship Id="rId6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9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35.xml"/><Relationship Id="rId50" Type="http://schemas.openxmlformats.org/officeDocument/2006/relationships/slideLayout" Target="../slideLayouts/slideLayout51.xml"/><Relationship Id="rId55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5715" imgH="5715" progId="TCLayout.ActiveDocument.1">
                  <p:embed/>
                </p:oleObj>
              </mc:Choice>
              <mc:Fallback>
                <p:oleObj name="Слайд think-cell" r:id="rId4" imgW="5715" imgH="5715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1219200" rtl="0" eaLnBrk="1" latinLnBrk="0" hangingPunct="1">
        <a:lnSpc>
          <a:spcPct val="90000"/>
        </a:lnSpc>
        <a:spcBef>
          <a:spcPts val="1335"/>
        </a:spcBef>
        <a:buFont typeface="Arial" panose="020B0604020202020204" pitchFamily="34" charset="0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715" imgH="5715" progId="TCLayout.ActiveDocument.1">
                  <p:embed/>
                </p:oleObj>
              </mc:Choice>
              <mc:Fallback>
                <p:oleObj name="Слайд think-cell" r:id="rId3" imgW="5715" imgH="5715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1219200" rtl="0" eaLnBrk="1" latinLnBrk="0" hangingPunct="1">
        <a:lnSpc>
          <a:spcPct val="90000"/>
        </a:lnSpc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1219200" rtl="0" eaLnBrk="1" latinLnBrk="0" hangingPunct="1">
        <a:lnSpc>
          <a:spcPct val="90000"/>
        </a:lnSpc>
        <a:spcBef>
          <a:spcPts val="1335"/>
        </a:spcBef>
        <a:buFont typeface="Arial" panose="020B0604020202020204" pitchFamily="34" charset="0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lnSpc>
          <a:spcPct val="90000"/>
        </a:lnSpc>
        <a:spcBef>
          <a:spcPts val="66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8" imgW="12700" imgH="12700" progId="TCLayout.ActiveDocument.1">
                  <p:embed/>
                </p:oleObj>
              </mc:Choice>
              <mc:Fallback>
                <p:oleObj name="Слайд think-cell" r:id="rId68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11019324" y="6405036"/>
            <a:ext cx="3810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5384" y="2080800"/>
            <a:ext cx="10642708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78" r:id="rId26"/>
    <p:sldLayoutId id="2147483679" r:id="rId27"/>
    <p:sldLayoutId id="2147483680" r:id="rId28"/>
    <p:sldLayoutId id="2147483681" r:id="rId29"/>
    <p:sldLayoutId id="2147483682" r:id="rId30"/>
    <p:sldLayoutId id="2147483683" r:id="rId31"/>
    <p:sldLayoutId id="2147483684" r:id="rId32"/>
    <p:sldLayoutId id="2147483685" r:id="rId33"/>
    <p:sldLayoutId id="2147483686" r:id="rId34"/>
    <p:sldLayoutId id="2147483687" r:id="rId35"/>
    <p:sldLayoutId id="2147483688" r:id="rId36"/>
    <p:sldLayoutId id="2147483689" r:id="rId37"/>
    <p:sldLayoutId id="2147483690" r:id="rId38"/>
    <p:sldLayoutId id="2147483691" r:id="rId39"/>
    <p:sldLayoutId id="2147483692" r:id="rId40"/>
    <p:sldLayoutId id="2147483693" r:id="rId41"/>
    <p:sldLayoutId id="2147483694" r:id="rId42"/>
    <p:sldLayoutId id="2147483695" r:id="rId43"/>
    <p:sldLayoutId id="2147483696" r:id="rId44"/>
    <p:sldLayoutId id="2147483697" r:id="rId45"/>
    <p:sldLayoutId id="2147483698" r:id="rId46"/>
    <p:sldLayoutId id="2147483699" r:id="rId47"/>
    <p:sldLayoutId id="2147483700" r:id="rId48"/>
    <p:sldLayoutId id="2147483701" r:id="rId49"/>
    <p:sldLayoutId id="2147483702" r:id="rId50"/>
    <p:sldLayoutId id="2147483703" r:id="rId51"/>
    <p:sldLayoutId id="2147483704" r:id="rId52"/>
    <p:sldLayoutId id="2147483705" r:id="rId53"/>
    <p:sldLayoutId id="2147483706" r:id="rId54"/>
    <p:sldLayoutId id="2147483707" r:id="rId55"/>
    <p:sldLayoutId id="2147483708" r:id="rId56"/>
    <p:sldLayoutId id="2147483709" r:id="rId57"/>
    <p:sldLayoutId id="2147483710" r:id="rId58"/>
    <p:sldLayoutId id="2147483711" r:id="rId59"/>
    <p:sldLayoutId id="2147483712" r:id="rId60"/>
    <p:sldLayoutId id="2147483713" r:id="rId61"/>
    <p:sldLayoutId id="2147483714" r:id="rId62"/>
    <p:sldLayoutId id="2147483715" r:id="rId63"/>
    <p:sldLayoutId id="2147483716" r:id="rId64"/>
    <p:sldLayoutId id="2147483717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80" indent="-17272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73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7.xml"/><Relationship Id="rId6" Type="http://schemas.openxmlformats.org/officeDocument/2006/relationships/image" Target="../media/image1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8.xml"/><Relationship Id="rId6" Type="http://schemas.openxmlformats.org/officeDocument/2006/relationships/image" Target="../media/image1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9.xml"/><Relationship Id="rId6" Type="http://schemas.openxmlformats.org/officeDocument/2006/relationships/image" Target="../media/image1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0.xml"/><Relationship Id="rId6" Type="http://schemas.openxmlformats.org/officeDocument/2006/relationships/image" Target="../media/image10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9525" imgH="9525" progId="TCLayout.ActiveDocument.1">
                  <p:embed/>
                </p:oleObj>
              </mc:Choice>
              <mc:Fallback>
                <p:oleObj name="Слайд think-cell" r:id="rId4" imgW="9525" imgH="9525" progId="TCLayout.ActiveDocument.1">
                  <p:embed/>
                  <p:pic>
                    <p:nvPicPr>
                      <p:cNvPr id="0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708155" y="4656511"/>
            <a:ext cx="7112000" cy="59142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3600" dirty="0">
                <a:solidFill>
                  <a:srgbClr val="FF8C1C"/>
                </a:solidFill>
              </a:rPr>
              <a:t>29 марта 2023 года</a:t>
            </a:r>
            <a:endParaRPr lang="en-US" sz="3600" dirty="0">
              <a:solidFill>
                <a:srgbClr val="FF8C1C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75335" y="1846580"/>
            <a:ext cx="10866120" cy="206502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</a:pPr>
            <a:r>
              <a:rPr lang="ru-RU" sz="3200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нлайн-ярмарка вакансий ведущих предприятий Казахстана горнодобывающей и обрабатывающей промышленности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2255" y="828839"/>
            <a:ext cx="15405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26265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1100" dirty="0">
                <a:latin typeface="Montserrat Alternates Medium" panose="00000600000000000000" pitchFamily="2" charset="-52"/>
              </a:rPr>
              <a:t>Электронная биржа труда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9435450" y="4100203"/>
            <a:ext cx="2742719" cy="274271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184" y="173200"/>
            <a:ext cx="1310921" cy="52758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596395" y="5687714"/>
            <a:ext cx="7112000" cy="59142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3600" dirty="0">
                <a:solidFill>
                  <a:srgbClr val="FF8C1C"/>
                </a:solidFill>
              </a:rPr>
              <a:t>на портале </a:t>
            </a:r>
            <a:r>
              <a:rPr lang="en-US" sz="3600" dirty="0">
                <a:solidFill>
                  <a:srgbClr val="FF8C1C"/>
                </a:solidFill>
              </a:rPr>
              <a:t>Enbek.kz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-26783" y="-12209"/>
            <a:ext cx="404288" cy="6894627"/>
            <a:chOff x="-26783" y="-12209"/>
            <a:chExt cx="404288" cy="6894627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-15251" y="-12209"/>
              <a:ext cx="392756" cy="6882418"/>
            </a:xfrm>
            <a:prstGeom prst="rect">
              <a:avLst/>
            </a:prstGeom>
            <a:solidFill>
              <a:srgbClr val="FDBF0F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endParaRPr lang="en-US" sz="4000" dirty="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-26783" y="0"/>
              <a:ext cx="222820" cy="6882418"/>
            </a:xfrm>
            <a:prstGeom prst="rect">
              <a:avLst/>
            </a:prstGeom>
            <a:solidFill>
              <a:srgbClr val="F16522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endParaRPr lang="en-US" sz="4000" dirty="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077" y="436994"/>
            <a:ext cx="2345974" cy="52758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9525" imgH="9525" progId="TCLayout.ActiveDocument.1">
                  <p:embed/>
                </p:oleObj>
              </mc:Choice>
              <mc:Fallback>
                <p:oleObj name="Слайд think-cell" r:id="rId4" imgW="9525" imgH="9525" progId="TCLayout.ActiveDocument.1">
                  <p:embed/>
                  <p:pic>
                    <p:nvPicPr>
                      <p:cNvPr id="0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408119" y="2417160"/>
            <a:ext cx="2994025" cy="23202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ru-RU"/>
            </a:defPPr>
            <a:lvl1pPr marL="285750" indent="-285750">
              <a:lnSpc>
                <a:spcPct val="120000"/>
              </a:lnSpc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  <a:defRPr sz="1600" b="0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r>
              <a:rPr lang="ru-RU" sz="1500" b="1" dirty="0"/>
              <a:t>На портале  </a:t>
            </a:r>
            <a:r>
              <a:rPr lang="en-US" sz="1500" b="1" dirty="0"/>
              <a:t>ENBEK.KZ</a:t>
            </a:r>
            <a:r>
              <a:rPr lang="ru-RU" sz="1500" b="1" dirty="0"/>
              <a:t> </a:t>
            </a:r>
            <a:r>
              <a:rPr lang="ru-RU" sz="1500" dirty="0"/>
              <a:t>создается отдельная страница ярмарки </a:t>
            </a:r>
            <a:r>
              <a:rPr lang="ru-RU" sz="1500" b="1" dirty="0">
                <a:sym typeface="+mn-ea"/>
              </a:rPr>
              <a:t>Tanda.Enbek</a:t>
            </a:r>
            <a:r>
              <a:rPr lang="ru-RU" sz="1500" dirty="0"/>
              <a:t>, где </a:t>
            </a:r>
            <a:r>
              <a:rPr lang="ru-RU" sz="1500" b="1" dirty="0" err="1"/>
              <a:t>размеща</a:t>
            </a:r>
            <a:r>
              <a:rPr lang="kk-KZ" sz="1500" b="1" dirty="0"/>
              <a:t>ю</a:t>
            </a:r>
            <a:r>
              <a:rPr lang="ru-RU" sz="1500" b="1" dirty="0" err="1"/>
              <a:t>тся</a:t>
            </a:r>
            <a:r>
              <a:rPr lang="ru-RU" sz="1500" b="1" dirty="0"/>
              <a:t> информация о работодателях и представленных ими вакансиях</a:t>
            </a:r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20" name="TextBox 19"/>
          <p:cNvSpPr txBox="1"/>
          <p:nvPr/>
        </p:nvSpPr>
        <p:spPr>
          <a:xfrm>
            <a:off x="7581900" y="2398332"/>
            <a:ext cx="4249373" cy="29673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ru-RU"/>
            </a:defPPr>
            <a:lvl1pPr marL="285750" indent="-285750">
              <a:lnSpc>
                <a:spcPct val="120000"/>
              </a:lnSpc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  <a:defRPr sz="1600" b="0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r>
              <a:rPr lang="ru-RU" sz="1500" b="1" dirty="0"/>
              <a:t>Работодатели рассматривают резюме</a:t>
            </a:r>
            <a:r>
              <a:rPr lang="ru-RU" sz="1500" dirty="0"/>
              <a:t>, которые кандидаты направляют на вакансии</a:t>
            </a:r>
          </a:p>
          <a:p>
            <a:r>
              <a:rPr lang="ru-RU" sz="1500" dirty="0">
                <a:sym typeface="+mn-ea"/>
              </a:rPr>
              <a:t>Подбор кандидатов проводится </a:t>
            </a:r>
            <a:r>
              <a:rPr lang="ru-RU" sz="1500" b="1" dirty="0">
                <a:sym typeface="+mn-ea"/>
              </a:rPr>
              <a:t>из любого региона страны</a:t>
            </a:r>
            <a:endParaRPr lang="ru-RU" sz="1500" b="1" dirty="0"/>
          </a:p>
          <a:p>
            <a:r>
              <a:rPr lang="ru-RU" sz="1500" dirty="0"/>
              <a:t>Итоговое решение по трудоустройству на вакансии </a:t>
            </a:r>
            <a:r>
              <a:rPr lang="ru-RU" sz="1500" b="1" dirty="0"/>
              <a:t>работодатель принимает самостоятельно</a:t>
            </a:r>
            <a:endParaRPr lang="en-US" sz="1500" dirty="0"/>
          </a:p>
          <a:p>
            <a:endParaRPr lang="ru-RU" sz="1500" dirty="0"/>
          </a:p>
          <a:p>
            <a:endParaRPr lang="ru-RU" sz="1500" dirty="0"/>
          </a:p>
          <a:p>
            <a:endParaRPr lang="en-US" sz="15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9449420" y="4110363"/>
            <a:ext cx="2742719" cy="2742719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 flipV="1">
            <a:off x="221882" y="1468643"/>
            <a:ext cx="11970118" cy="0"/>
          </a:xfrm>
          <a:prstGeom prst="line">
            <a:avLst/>
          </a:prstGeom>
          <a:ln>
            <a:solidFill>
              <a:srgbClr val="2626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753878" y="1647189"/>
            <a:ext cx="9152389" cy="59142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dirty="0">
                <a:solidFill>
                  <a:srgbClr val="262652"/>
                </a:solidFill>
              </a:rPr>
              <a:t>Участие работодателей в ярмарке</a:t>
            </a:r>
            <a:endParaRPr lang="en-US" sz="2400" dirty="0">
              <a:solidFill>
                <a:srgbClr val="262652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-15251" y="-12209"/>
            <a:ext cx="392756" cy="6882418"/>
          </a:xfrm>
          <a:prstGeom prst="rect">
            <a:avLst/>
          </a:prstGeom>
          <a:solidFill>
            <a:srgbClr val="FDBF0F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en-US" sz="4000" dirty="0">
              <a:solidFill>
                <a:schemeClr val="bg1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-26783" y="0"/>
            <a:ext cx="222820" cy="6882418"/>
          </a:xfrm>
          <a:prstGeom prst="rect">
            <a:avLst/>
          </a:prstGeom>
          <a:solidFill>
            <a:srgbClr val="F16522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en-US" sz="4000" dirty="0">
              <a:solidFill>
                <a:schemeClr val="bg1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77924" y="6112448"/>
            <a:ext cx="8818414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23" y="335203"/>
            <a:ext cx="2151911" cy="483945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3641832" y="345399"/>
            <a:ext cx="7129632" cy="94469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ru-RU" sz="2000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нлайн-ярмарка вакансий ведущих предприятий Казахстана горнодобывающей и обрабатывающей промышленности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</a:pPr>
            <a:endParaRPr lang="en-US" sz="2000" dirty="0">
              <a:solidFill>
                <a:srgbClr val="FF8C1C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Текстовое поле 4"/>
          <p:cNvSpPr txBox="1"/>
          <p:nvPr/>
        </p:nvSpPr>
        <p:spPr>
          <a:xfrm>
            <a:off x="3641832" y="6287176"/>
            <a:ext cx="4907915" cy="45085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ru-RU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+mn-ea"/>
              </a:rPr>
              <a:t>29 марта 2023 года на портале Enbek.kz</a:t>
            </a:r>
            <a:endParaRPr lang="ru-RU" dirty="0">
              <a:solidFill>
                <a:srgbClr val="FF8C1C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Текстовое поле 7"/>
          <p:cNvSpPr txBox="1"/>
          <p:nvPr/>
        </p:nvSpPr>
        <p:spPr>
          <a:xfrm>
            <a:off x="3763010" y="2398395"/>
            <a:ext cx="3568968" cy="25844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defPPr>
              <a:defRPr lang="ru-RU"/>
            </a:defPPr>
            <a:lvl1pPr marL="285750" indent="-285750">
              <a:lnSpc>
                <a:spcPct val="120000"/>
              </a:lnSpc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  <a:defRPr sz="1600" b="0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pPr lvl="0" algn="l">
              <a:buClrTx/>
            </a:pPr>
            <a:r>
              <a:rPr lang="ru-RU" sz="1500" dirty="0">
                <a:sym typeface="+mn-ea"/>
              </a:rPr>
              <a:t>Заявки на участие в ярмарке подали </a:t>
            </a:r>
            <a:r>
              <a:rPr lang="ru-RU" sz="1500" b="1" dirty="0">
                <a:sym typeface="+mn-ea"/>
              </a:rPr>
              <a:t>более 20 крупных работодателей</a:t>
            </a:r>
            <a:r>
              <a:rPr lang="ru-RU" sz="1500" dirty="0">
                <a:sym typeface="+mn-ea"/>
              </a:rPr>
              <a:t> из различных регионов страны</a:t>
            </a:r>
          </a:p>
          <a:p>
            <a:pPr lvl="0" algn="l">
              <a:buClrTx/>
            </a:pPr>
            <a:r>
              <a:rPr lang="ru-RU" sz="1500" dirty="0">
                <a:sym typeface="+mn-ea"/>
              </a:rPr>
              <a:t> Это работодатели из группы компаний ERG, Polymetal, Самрук-Казына, ТОО «KAZ Minerals»,             ТОО «Электровоз құрастыру зауыты», АО «АК АЛТЫНАЛМАС» и други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9525" imgH="9525" progId="TCLayout.ActiveDocument.1">
                  <p:embed/>
                </p:oleObj>
              </mc:Choice>
              <mc:Fallback>
                <p:oleObj name="Слайд think-cell" r:id="rId4" imgW="9525" imgH="9525" progId="TCLayout.ActiveDocument.1">
                  <p:embed/>
                  <p:pic>
                    <p:nvPicPr>
                      <p:cNvPr id="0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29089" y="2508749"/>
            <a:ext cx="3365778" cy="28519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ru-RU"/>
            </a:defPPr>
            <a:lvl1pPr>
              <a:lnSpc>
                <a:spcPct val="120000"/>
              </a:lnSpc>
              <a:defRPr sz="1600" b="1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pPr marL="285750" indent="-285750"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</a:pPr>
            <a:r>
              <a:rPr lang="ru-RU" sz="1400" b="0" dirty="0">
                <a:sym typeface="+mn-ea"/>
              </a:rPr>
              <a:t>На портале Enbek.kz перейдите </a:t>
            </a:r>
            <a:r>
              <a:rPr lang="ru-RU" sz="1400" dirty="0">
                <a:sym typeface="+mn-ea"/>
              </a:rPr>
              <a:t>на страницу ярмарки Tanda.Enbek</a:t>
            </a:r>
            <a:endParaRPr lang="ru-RU" sz="1400" b="0" dirty="0">
              <a:sym typeface="+mn-ea"/>
            </a:endParaRPr>
          </a:p>
          <a:p>
            <a:pPr marL="285750" indent="-285750"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</a:pPr>
            <a:r>
              <a:rPr lang="ru-RU" sz="1400" dirty="0">
                <a:sym typeface="+mn-ea"/>
              </a:rPr>
              <a:t>Пройдите регистрацию на ярмарку </a:t>
            </a:r>
            <a:r>
              <a:rPr lang="ru-RU" sz="1400" b="0" dirty="0">
                <a:sym typeface="+mn-ea"/>
              </a:rPr>
              <a:t>и создайте личный кабинет</a:t>
            </a:r>
            <a:endParaRPr lang="ru-RU" sz="1400" dirty="0">
              <a:sym typeface="+mn-ea"/>
            </a:endParaRPr>
          </a:p>
          <a:p>
            <a:pPr marL="285750" indent="-285750"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</a:pPr>
            <a:r>
              <a:rPr lang="en-US" sz="1400" b="0" dirty="0"/>
              <a:t>Регистрация на ярмарку </a:t>
            </a:r>
            <a:r>
              <a:rPr lang="en-US" sz="1400" b="0" dirty="0" err="1"/>
              <a:t>начинается</a:t>
            </a:r>
            <a:r>
              <a:rPr lang="en-US" sz="1400" b="0" dirty="0"/>
              <a:t> </a:t>
            </a:r>
            <a:r>
              <a:rPr lang="en-US" sz="1400" dirty="0"/>
              <a:t>2</a:t>
            </a:r>
            <a:r>
              <a:rPr lang="ru-RU" sz="1400" dirty="0"/>
              <a:t>4</a:t>
            </a:r>
            <a:r>
              <a:rPr lang="en-US" sz="1400" dirty="0"/>
              <a:t> </a:t>
            </a:r>
            <a:r>
              <a:rPr lang="ru-RU" altLang="en-US" sz="1400" dirty="0"/>
              <a:t>марта</a:t>
            </a:r>
            <a:r>
              <a:rPr lang="en-US" sz="1400" dirty="0"/>
              <a:t> 202</a:t>
            </a:r>
            <a:r>
              <a:rPr lang="ru-RU" altLang="en-US" sz="1400" dirty="0"/>
              <a:t>3</a:t>
            </a:r>
            <a:r>
              <a:rPr lang="en-US" sz="1400" dirty="0"/>
              <a:t> года</a:t>
            </a:r>
          </a:p>
          <a:p>
            <a:pPr marL="285750" indent="-285750"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</a:pPr>
            <a:r>
              <a:rPr lang="ru-RU" sz="1400" dirty="0">
                <a:sym typeface="+mn-ea"/>
              </a:rPr>
              <a:t>Информация о ярмарке, формат и правила ее проведения </a:t>
            </a:r>
            <a:r>
              <a:rPr lang="ru-RU" sz="1400" b="0" dirty="0">
                <a:sym typeface="+mn-ea"/>
              </a:rPr>
              <a:t>размещаются на на странице ярмарки Tanda.Enbek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01134" y="2508749"/>
            <a:ext cx="3789731" cy="27427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ru-RU"/>
            </a:defPPr>
            <a:lvl1pPr marL="285750" indent="-285750">
              <a:lnSpc>
                <a:spcPct val="120000"/>
              </a:lnSpc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  <a:defRPr sz="1600" b="0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r>
              <a:rPr lang="ru-RU" sz="1400" dirty="0"/>
              <a:t>Вам на электронную почту будет направлено </a:t>
            </a:r>
            <a:r>
              <a:rPr lang="ru-RU" sz="1400" b="1" dirty="0"/>
              <a:t>письмо-приглашение для участия в ярмарке </a:t>
            </a:r>
            <a:endParaRPr lang="ru-RU" sz="1400" dirty="0"/>
          </a:p>
          <a:p>
            <a:r>
              <a:rPr lang="ru-RU" sz="1400" b="1" dirty="0">
                <a:sym typeface="+mn-ea"/>
              </a:rPr>
              <a:t>29 марта 2023 года</a:t>
            </a:r>
            <a:r>
              <a:rPr lang="ru-RU" sz="1400" dirty="0">
                <a:sym typeface="+mn-ea"/>
              </a:rPr>
              <a:t>, в день проведения ярмарки, </a:t>
            </a:r>
            <a:r>
              <a:rPr lang="ru-RU" sz="1400" b="1" dirty="0">
                <a:sym typeface="+mn-ea"/>
              </a:rPr>
              <a:t>выбирайте работодателей и подходящие ваканси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9435450" y="4100203"/>
            <a:ext cx="2742719" cy="2742719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 flipV="1">
            <a:off x="221882" y="1468643"/>
            <a:ext cx="11970118" cy="0"/>
          </a:xfrm>
          <a:prstGeom prst="line">
            <a:avLst/>
          </a:prstGeom>
          <a:ln>
            <a:solidFill>
              <a:srgbClr val="2626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7990866" y="2574738"/>
            <a:ext cx="3739933" cy="28712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ru-RU"/>
            </a:defPPr>
            <a:lvl1pPr marL="285750" indent="-285750">
              <a:lnSpc>
                <a:spcPct val="120000"/>
              </a:lnSpc>
              <a:spcAft>
                <a:spcPts val="1200"/>
              </a:spcAft>
              <a:buSzPct val="108000"/>
              <a:buFont typeface="Montserrat Alternates Medium" panose="00000600000000000000" pitchFamily="2" charset="-52"/>
              <a:buChar char="◆"/>
              <a:defRPr sz="1600" b="0">
                <a:solidFill>
                  <a:srgbClr val="262652"/>
                </a:solidFill>
                <a:latin typeface="Montserrat Alternates Medium" panose="00000600000000000000" pitchFamily="2" charset="-52"/>
                <a:cs typeface="Arial" panose="020B0604020202020204" pitchFamily="34" charset="0"/>
              </a:defRPr>
            </a:lvl1pPr>
          </a:lstStyle>
          <a:p>
            <a:r>
              <a:rPr lang="ru-RU" sz="1400" b="1" dirty="0">
                <a:sym typeface="+mn-ea"/>
              </a:rPr>
              <a:t>Подготовьте свое резюме</a:t>
            </a:r>
            <a:r>
              <a:rPr lang="ru-RU" sz="1400" dirty="0">
                <a:sym typeface="+mn-ea"/>
              </a:rPr>
              <a:t> и направляйте работодателям  на странице ярмарки Tanda.Enbek</a:t>
            </a:r>
          </a:p>
          <a:p>
            <a:r>
              <a:rPr lang="ru-RU" sz="1400" dirty="0"/>
              <a:t>Вы сможете </a:t>
            </a:r>
            <a:r>
              <a:rPr lang="ru-RU" sz="1400" b="1" dirty="0"/>
              <a:t>задать вопрос работодателю</a:t>
            </a:r>
            <a:r>
              <a:rPr lang="ru-RU" sz="1400" dirty="0"/>
              <a:t> в чате в вашем личном кабинете на ярмарке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45330" y="1660110"/>
            <a:ext cx="11078845" cy="591185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dirty="0">
                <a:solidFill>
                  <a:srgbClr val="262652"/>
                </a:solidFill>
              </a:rPr>
              <a:t>Как кандидатам принять участие в онлайн-ярмарке</a:t>
            </a:r>
            <a:endParaRPr lang="en-US" sz="2400" dirty="0">
              <a:solidFill>
                <a:srgbClr val="262652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-15251" y="-12209"/>
            <a:ext cx="392756" cy="6882418"/>
          </a:xfrm>
          <a:prstGeom prst="rect">
            <a:avLst/>
          </a:prstGeom>
          <a:solidFill>
            <a:srgbClr val="FDBF0F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en-US" sz="4000" dirty="0">
              <a:solidFill>
                <a:schemeClr val="bg1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-26783" y="0"/>
            <a:ext cx="222820" cy="6882418"/>
          </a:xfrm>
          <a:prstGeom prst="rect">
            <a:avLst/>
          </a:prstGeom>
          <a:solidFill>
            <a:srgbClr val="F16522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en-US" sz="4000" dirty="0">
              <a:solidFill>
                <a:schemeClr val="bg1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05" y="313574"/>
            <a:ext cx="2149398" cy="48338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3697927" y="417353"/>
            <a:ext cx="6914146" cy="94469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ru-RU" sz="2000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Онлайн-ярмарка вакансий ведущих предприятий Казахстана горнодобывающей и обрабатывающей промышленности 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endParaRPr lang="en-US" sz="2000" dirty="0">
              <a:solidFill>
                <a:srgbClr val="FF8C1C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Текстовое поле 4"/>
          <p:cNvSpPr txBox="1"/>
          <p:nvPr/>
        </p:nvSpPr>
        <p:spPr>
          <a:xfrm>
            <a:off x="4868545" y="5584825"/>
            <a:ext cx="4907915" cy="45085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ru-RU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+mn-ea"/>
              </a:rPr>
              <a:t>29 марта 2023 года на портале Enbek.kz</a:t>
            </a:r>
            <a:endParaRPr lang="ru-RU" dirty="0">
              <a:solidFill>
                <a:srgbClr val="FF8C1C"/>
              </a:solidFill>
              <a:latin typeface="Montserrat Alternates SemiBold" panose="00000700000000000000" pitchFamily="2" charset="-52"/>
              <a:ea typeface="+mj-ea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9525" imgH="9525" progId="TCLayout.ActiveDocument.1">
                  <p:embed/>
                </p:oleObj>
              </mc:Choice>
              <mc:Fallback>
                <p:oleObj name="Слайд think-cell" r:id="rId4" imgW="9525" imgH="9525" progId="TCLayout.ActiveDocument.1">
                  <p:embed/>
                  <p:pic>
                    <p:nvPicPr>
                      <p:cNvPr id="0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539880" y="3630351"/>
            <a:ext cx="7112000" cy="59142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3600" dirty="0">
                <a:solidFill>
                  <a:srgbClr val="FF8C1C"/>
                </a:solidFill>
              </a:rPr>
              <a:t>29 марта 2023 года</a:t>
            </a:r>
            <a:endParaRPr lang="en-US" sz="3600" dirty="0">
              <a:solidFill>
                <a:srgbClr val="FF8C1C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08223" y="1841743"/>
            <a:ext cx="11402834" cy="16370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</a:pPr>
            <a:r>
              <a:rPr lang="ru-RU" sz="3600" dirty="0">
                <a:solidFill>
                  <a:srgbClr val="FF8C1C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rPr>
              <a:t>Мы ждем вас на онлайн-ярмарке вакансий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2255" y="828839"/>
            <a:ext cx="15405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26265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-RU" sz="1100" dirty="0">
                <a:latin typeface="Montserrat Alternates Medium" panose="00000600000000000000" pitchFamily="2" charset="-52"/>
              </a:rPr>
              <a:t>Электронная биржа труда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9435450" y="4100203"/>
            <a:ext cx="2742719" cy="274271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184" y="173200"/>
            <a:ext cx="1310921" cy="52758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38280" y="4803794"/>
            <a:ext cx="7112000" cy="59142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spcBef>
                <a:spcPct val="0"/>
              </a:spcBef>
              <a:defRPr sz="400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3600" dirty="0">
                <a:solidFill>
                  <a:srgbClr val="FF8C1C"/>
                </a:solidFill>
              </a:rPr>
              <a:t>на портале </a:t>
            </a:r>
            <a:r>
              <a:rPr lang="en-US" sz="3600" dirty="0">
                <a:solidFill>
                  <a:srgbClr val="FF8C1C"/>
                </a:solidFill>
              </a:rPr>
              <a:t>Enbek.kz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-26783" y="-12209"/>
            <a:ext cx="404288" cy="6894627"/>
            <a:chOff x="-26783" y="-12209"/>
            <a:chExt cx="404288" cy="6894627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-15251" y="-12209"/>
              <a:ext cx="392756" cy="6882418"/>
            </a:xfrm>
            <a:prstGeom prst="rect">
              <a:avLst/>
            </a:prstGeom>
            <a:solidFill>
              <a:srgbClr val="FDBF0F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endParaRPr lang="en-US" sz="4000" dirty="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-26783" y="0"/>
              <a:ext cx="222820" cy="6882418"/>
            </a:xfrm>
            <a:prstGeom prst="rect">
              <a:avLst/>
            </a:prstGeom>
            <a:solidFill>
              <a:srgbClr val="F16522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</a:pPr>
              <a:endParaRPr lang="en-US" sz="4000" dirty="0">
                <a:solidFill>
                  <a:schemeClr val="bg1"/>
                </a:solidFill>
                <a:latin typeface="Montserrat Alternates SemiBold" panose="00000700000000000000" pitchFamily="2" charset="-52"/>
                <a:ea typeface="+mj-ea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077" y="436994"/>
            <a:ext cx="2345974" cy="52758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3.43900000000000005684E+00&quot;&gt;&lt;m_msothmcolidx val=&quot;0&quot;/&gt;&lt;m_rgb r=&quot;29&quot; g=&quot;5E&quot; b=&quot;7E&quot;/&gt;&lt;/elem&gt;&lt;elem m_fUsage=&quot;1.77803100000000013914E+00&quot;&gt;&lt;m_msothmcolidx val=&quot;0&quot;/&gt;&lt;m_rgb r=&quot;4E&quot; g=&quot;98&quot; b=&quot;C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80</Words>
  <Application>Microsoft Office PowerPoint</Application>
  <PresentationFormat>Широкоэкранный</PresentationFormat>
  <Paragraphs>33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Arial</vt:lpstr>
      <vt:lpstr>Calibri</vt:lpstr>
      <vt:lpstr>Montserrat Alternates Medium</vt:lpstr>
      <vt:lpstr>Montserrat Alternates SemiBold</vt:lpstr>
      <vt:lpstr>Trebuchet MS</vt:lpstr>
      <vt:lpstr>ТИТУЛЫ</vt:lpstr>
      <vt:lpstr>2_ТИТУЛЫ</vt:lpstr>
      <vt:lpstr>KZ Labor Market Vision 2025 Grid A4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а Молчановская</dc:creator>
  <cp:lastModifiedBy>Ирина Рубашина</cp:lastModifiedBy>
  <cp:revision>1450</cp:revision>
  <cp:lastPrinted>2022-06-17T09:30:00Z</cp:lastPrinted>
  <dcterms:created xsi:type="dcterms:W3CDTF">2022-01-13T13:42:00Z</dcterms:created>
  <dcterms:modified xsi:type="dcterms:W3CDTF">2023-03-15T04:5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3DEC876C9BC6420CA3149DFD03B157B6</vt:lpwstr>
  </property>
  <property fmtid="{D5CDD505-2E9C-101B-9397-08002B2CF9AE}" pid="3" name="KSOProductBuildVer">
    <vt:lpwstr>1049-11.2.0.11486</vt:lpwstr>
  </property>
</Properties>
</file>